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3"/>
  </p:notesMasterIdLst>
  <p:handoutMasterIdLst>
    <p:handoutMasterId r:id="rId24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75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60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8.0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18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 Gesamtarchitektur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98" name="Gruppieren 97"/>
          <p:cNvGrpSpPr/>
          <p:nvPr/>
        </p:nvGrpSpPr>
        <p:grpSpPr>
          <a:xfrm>
            <a:off x="3071664" y="1160747"/>
            <a:ext cx="8752703" cy="5328593"/>
            <a:chOff x="3071664" y="1160747"/>
            <a:chExt cx="8752703" cy="5328593"/>
          </a:xfrm>
        </p:grpSpPr>
        <p:grpSp>
          <p:nvGrpSpPr>
            <p:cNvPr id="95" name="Gruppieren 94"/>
            <p:cNvGrpSpPr/>
            <p:nvPr/>
          </p:nvGrpSpPr>
          <p:grpSpPr>
            <a:xfrm>
              <a:off x="3071664" y="1160747"/>
              <a:ext cx="8752703" cy="5328593"/>
              <a:chOff x="2310831" y="1160747"/>
              <a:chExt cx="8752703" cy="5328593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2351584" y="1160747"/>
                <a:ext cx="8711950" cy="5328593"/>
                <a:chOff x="116081" y="260647"/>
                <a:chExt cx="8711950" cy="5328593"/>
              </a:xfrm>
            </p:grpSpPr>
            <p:grpSp>
              <p:nvGrpSpPr>
                <p:cNvPr id="11" name="Gruppieren 10"/>
                <p:cNvGrpSpPr>
                  <a:grpSpLocks noChangeAspect="1"/>
                </p:cNvGrpSpPr>
                <p:nvPr/>
              </p:nvGrpSpPr>
              <p:grpSpPr>
                <a:xfrm>
                  <a:off x="1669936" y="260647"/>
                  <a:ext cx="7158095" cy="5328593"/>
                  <a:chOff x="683568" y="260647"/>
                  <a:chExt cx="8144464" cy="6062861"/>
                </a:xfrm>
              </p:grpSpPr>
              <p:grpSp>
                <p:nvGrpSpPr>
                  <p:cNvPr id="16" name="Gruppieren 15"/>
                  <p:cNvGrpSpPr/>
                  <p:nvPr/>
                </p:nvGrpSpPr>
                <p:grpSpPr>
                  <a:xfrm>
                    <a:off x="5796136" y="260647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74" name="Rechteck 73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6732240" y="1081250"/>
                      <a:ext cx="1872208" cy="895204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8" name="Textfeld 77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1</a:t>
                      </a:r>
                      <a:endParaRPr lang="de-DE" sz="1400" b="1" dirty="0"/>
                    </a:p>
                  </p:txBody>
                </p:sp>
                <p:sp>
                  <p:nvSpPr>
                    <p:cNvPr id="79" name="Textfeld 78"/>
                    <p:cNvSpPr txBox="1"/>
                    <p:nvPr/>
                  </p:nvSpPr>
                  <p:spPr>
                    <a:xfrm rot="5400000">
                      <a:off x="5554138" y="922148"/>
                      <a:ext cx="1294025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Communication</a:t>
                      </a:r>
                    </a:p>
                    <a:p>
                      <a:pPr algn="ctr"/>
                      <a:r>
                        <a:rPr lang="de-DE" sz="1200" dirty="0" smtClean="0"/>
                        <a:t> 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80" name="Gruppieren 79"/>
                    <p:cNvGrpSpPr/>
                    <p:nvPr/>
                  </p:nvGrpSpPr>
                  <p:grpSpPr>
                    <a:xfrm>
                      <a:off x="6796196" y="683195"/>
                      <a:ext cx="1736244" cy="296766"/>
                      <a:chOff x="904450" y="1772341"/>
                      <a:chExt cx="1736244" cy="286453"/>
                    </a:xfrm>
                  </p:grpSpPr>
                  <p:sp>
                    <p:nvSpPr>
                      <p:cNvPr id="88" name="Rechteck 87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9" name="Textfeld 88"/>
                      <p:cNvSpPr txBox="1"/>
                      <p:nvPr/>
                    </p:nvSpPr>
                    <p:spPr>
                      <a:xfrm>
                        <a:off x="1041441" y="1781795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1" name="Gruppieren 80"/>
                    <p:cNvGrpSpPr/>
                    <p:nvPr/>
                  </p:nvGrpSpPr>
                  <p:grpSpPr>
                    <a:xfrm>
                      <a:off x="6801698" y="1148709"/>
                      <a:ext cx="1815139" cy="290955"/>
                      <a:chOff x="895750" y="1768496"/>
                      <a:chExt cx="1557271" cy="280844"/>
                    </a:xfrm>
                  </p:grpSpPr>
                  <p:sp>
                    <p:nvSpPr>
                      <p:cNvPr id="86" name="Rechteck 85"/>
                      <p:cNvSpPr/>
                      <p:nvPr/>
                    </p:nvSpPr>
                    <p:spPr>
                      <a:xfrm>
                        <a:off x="904450" y="1772341"/>
                        <a:ext cx="1476164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7" name="Textfeld 86"/>
                      <p:cNvSpPr txBox="1"/>
                      <p:nvPr/>
                    </p:nvSpPr>
                    <p:spPr>
                      <a:xfrm>
                        <a:off x="895750" y="1768496"/>
                        <a:ext cx="1557271" cy="2704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Environment 1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2" name="Gruppieren 81"/>
                    <p:cNvGrpSpPr/>
                    <p:nvPr/>
                  </p:nvGrpSpPr>
                  <p:grpSpPr>
                    <a:xfrm>
                      <a:off x="6791594" y="1622366"/>
                      <a:ext cx="1840674" cy="290242"/>
                      <a:chOff x="859942" y="1769184"/>
                      <a:chExt cx="1579178" cy="280156"/>
                    </a:xfrm>
                  </p:grpSpPr>
                  <p:sp>
                    <p:nvSpPr>
                      <p:cNvPr id="84" name="Rechteck 83"/>
                      <p:cNvSpPr/>
                      <p:nvPr/>
                    </p:nvSpPr>
                    <p:spPr>
                      <a:xfrm>
                        <a:off x="877312" y="1772341"/>
                        <a:ext cx="1476163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5" name="Textfeld 84"/>
                      <p:cNvSpPr txBox="1"/>
                      <p:nvPr/>
                    </p:nvSpPr>
                    <p:spPr>
                      <a:xfrm>
                        <a:off x="859942" y="1769184"/>
                        <a:ext cx="1579178" cy="2704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/>
                          <a:t>Container Environment </a:t>
                        </a:r>
                        <a:r>
                          <a:rPr lang="de-DE" sz="1000" dirty="0" smtClean="0"/>
                          <a:t>N</a:t>
                        </a:r>
                        <a:endParaRPr lang="de-DE" sz="1000" dirty="0"/>
                      </a:p>
                    </p:txBody>
                  </p:sp>
                </p:grpSp>
                <p:cxnSp>
                  <p:nvCxnSpPr>
                    <p:cNvPr id="83" name="Gerader Verbinder 82"/>
                    <p:cNvCxnSpPr>
                      <a:stCxn id="86" idx="2"/>
                      <a:endCxn id="84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7" name="Rechteck 16"/>
                  <p:cNvSpPr/>
                  <p:nvPr/>
                </p:nvSpPr>
                <p:spPr>
                  <a:xfrm>
                    <a:off x="683568" y="1976453"/>
                    <a:ext cx="3600400" cy="2558310"/>
                  </a:xfrm>
                  <a:prstGeom prst="rect">
                    <a:avLst/>
                  </a:prstGeom>
                  <a:solidFill>
                    <a:srgbClr val="CCFFFF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8" name="Textfeld 17"/>
                  <p:cNvSpPr txBox="1"/>
                  <p:nvPr/>
                </p:nvSpPr>
                <p:spPr>
                  <a:xfrm>
                    <a:off x="1803006" y="2010048"/>
                    <a:ext cx="1686680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b="1" dirty="0" err="1" smtClean="0"/>
                      <a:t>Runtime</a:t>
                    </a:r>
                    <a:r>
                      <a:rPr lang="de-DE" sz="1400" b="1" dirty="0" smtClean="0"/>
                      <a:t> Manager</a:t>
                    </a:r>
                    <a:endParaRPr lang="de-DE" sz="1400" b="1" dirty="0"/>
                  </a:p>
                </p:txBody>
              </p:sp>
              <p:grpSp>
                <p:nvGrpSpPr>
                  <p:cNvPr id="19" name="Gruppieren 18"/>
                  <p:cNvGrpSpPr/>
                  <p:nvPr/>
                </p:nvGrpSpPr>
                <p:grpSpPr>
                  <a:xfrm>
                    <a:off x="3622767" y="2300037"/>
                    <a:ext cx="495672" cy="1999823"/>
                    <a:chOff x="3766783" y="2615157"/>
                    <a:chExt cx="495672" cy="1359768"/>
                  </a:xfrm>
                  <a:solidFill>
                    <a:schemeClr val="accent5">
                      <a:lumMod val="40000"/>
                      <a:lumOff val="60000"/>
                    </a:schemeClr>
                  </a:solidFill>
                </p:grpSpPr>
                <p:sp>
                  <p:nvSpPr>
                    <p:cNvPr id="72" name="Rechteck 71"/>
                    <p:cNvSpPr/>
                    <p:nvPr/>
                  </p:nvSpPr>
                  <p:spPr>
                    <a:xfrm>
                      <a:off x="3766783" y="2615157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3" name="Textfeld 72"/>
                    <p:cNvSpPr txBox="1"/>
                    <p:nvPr/>
                  </p:nvSpPr>
                  <p:spPr>
                    <a:xfrm rot="5400000">
                      <a:off x="3405728" y="3047706"/>
                      <a:ext cx="1249060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Communication</a:t>
                      </a:r>
                    </a:p>
                    <a:p>
                      <a:pPr algn="ctr"/>
                      <a:r>
                        <a:rPr lang="de-DE" sz="1200" dirty="0" smtClean="0"/>
                        <a:t> 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0" name="Gruppieren 19"/>
                  <p:cNvGrpSpPr/>
                  <p:nvPr/>
                </p:nvGrpSpPr>
                <p:grpSpPr>
                  <a:xfrm>
                    <a:off x="1489176" y="3956118"/>
                    <a:ext cx="1821708" cy="280149"/>
                    <a:chOff x="971600" y="630145"/>
                    <a:chExt cx="1476164" cy="280149"/>
                  </a:xfrm>
                  <a:solidFill>
                    <a:srgbClr val="FFCC99"/>
                  </a:solidFill>
                </p:grpSpPr>
                <p:sp>
                  <p:nvSpPr>
                    <p:cNvPr id="70" name="Rechteck 69"/>
                    <p:cNvSpPr/>
                    <p:nvPr/>
                  </p:nvSpPr>
                  <p:spPr>
                    <a:xfrm>
                      <a:off x="971600" y="631720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1" name="Textfeld 70"/>
                    <p:cNvSpPr txBox="1"/>
                    <p:nvPr/>
                  </p:nvSpPr>
                  <p:spPr>
                    <a:xfrm>
                      <a:off x="1330098" y="630145"/>
                      <a:ext cx="699358" cy="28014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Schedul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1" name="Gruppieren 20"/>
                  <p:cNvGrpSpPr/>
                  <p:nvPr/>
                </p:nvGrpSpPr>
                <p:grpSpPr>
                  <a:xfrm>
                    <a:off x="1489177" y="3546191"/>
                    <a:ext cx="1821708" cy="292455"/>
                    <a:chOff x="971600" y="1203427"/>
                    <a:chExt cx="1476164" cy="292455"/>
                  </a:xfrm>
                  <a:solidFill>
                    <a:srgbClr val="00CCFF"/>
                  </a:solidFill>
                </p:grpSpPr>
                <p:sp>
                  <p:nvSpPr>
                    <p:cNvPr id="68" name="Rechteck 67"/>
                    <p:cNvSpPr/>
                    <p:nvPr/>
                  </p:nvSpPr>
                  <p:spPr>
                    <a:xfrm>
                      <a:off x="971600" y="1203427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9" name="Textfeld 68"/>
                    <p:cNvSpPr txBox="1"/>
                    <p:nvPr/>
                  </p:nvSpPr>
                  <p:spPr>
                    <a:xfrm>
                      <a:off x="1373303" y="1215732"/>
                      <a:ext cx="672756" cy="28015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Database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2" name="Gruppieren 21"/>
                  <p:cNvGrpSpPr/>
                  <p:nvPr/>
                </p:nvGrpSpPr>
                <p:grpSpPr>
                  <a:xfrm>
                    <a:off x="1503157" y="2438598"/>
                    <a:ext cx="1845097" cy="374960"/>
                    <a:chOff x="904450" y="1772341"/>
                    <a:chExt cx="1476164" cy="276999"/>
                  </a:xfrm>
                  <a:solidFill>
                    <a:schemeClr val="accent1">
                      <a:lumMod val="40000"/>
                      <a:lumOff val="60000"/>
                    </a:schemeClr>
                  </a:solidFill>
                </p:grpSpPr>
                <p:sp>
                  <p:nvSpPr>
                    <p:cNvPr id="66" name="Rechteck 65"/>
                    <p:cNvSpPr/>
                    <p:nvPr/>
                  </p:nvSpPr>
                  <p:spPr>
                    <a:xfrm>
                      <a:off x="904450" y="1772341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7" name="Textfeld 66"/>
                    <p:cNvSpPr txBox="1"/>
                    <p:nvPr/>
                  </p:nvSpPr>
                  <p:spPr>
                    <a:xfrm>
                      <a:off x="1221360" y="1803121"/>
                      <a:ext cx="935638" cy="20695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Manag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3" name="Gruppieren 22"/>
                  <p:cNvGrpSpPr/>
                  <p:nvPr/>
                </p:nvGrpSpPr>
                <p:grpSpPr>
                  <a:xfrm>
                    <a:off x="832087" y="2311635"/>
                    <a:ext cx="495672" cy="1988226"/>
                    <a:chOff x="3275856" y="2605100"/>
                    <a:chExt cx="495672" cy="1359768"/>
                  </a:xfrm>
                  <a:solidFill>
                    <a:schemeClr val="tx2">
                      <a:lumMod val="20000"/>
                      <a:lumOff val="80000"/>
                    </a:schemeClr>
                  </a:solidFill>
                </p:grpSpPr>
                <p:sp>
                  <p:nvSpPr>
                    <p:cNvPr id="64" name="Rechteck 63"/>
                    <p:cNvSpPr/>
                    <p:nvPr/>
                  </p:nvSpPr>
                  <p:spPr>
                    <a:xfrm>
                      <a:off x="3275856" y="2605100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5" name="Textfeld 64"/>
                    <p:cNvSpPr txBox="1"/>
                    <p:nvPr/>
                  </p:nvSpPr>
                  <p:spPr>
                    <a:xfrm rot="5400000">
                      <a:off x="2913933" y="3059866"/>
                      <a:ext cx="1249060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Communication</a:t>
                      </a:r>
                    </a:p>
                    <a:p>
                      <a:pPr algn="ctr"/>
                      <a:r>
                        <a:rPr lang="de-DE" sz="1200" dirty="0" smtClean="0"/>
                        <a:t> 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4" name="Gruppieren 23"/>
                  <p:cNvGrpSpPr/>
                  <p:nvPr/>
                </p:nvGrpSpPr>
                <p:grpSpPr>
                  <a:xfrm>
                    <a:off x="1503157" y="2944080"/>
                    <a:ext cx="1845097" cy="464154"/>
                    <a:chOff x="1373482" y="1438757"/>
                    <a:chExt cx="1845097" cy="464154"/>
                  </a:xfrm>
                  <a:solidFill>
                    <a:srgbClr val="83ABFB"/>
                  </a:solidFill>
                </p:grpSpPr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1373482" y="1438757"/>
                      <a:ext cx="1816466" cy="439335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3" name="Textfeld 62"/>
                    <p:cNvSpPr txBox="1"/>
                    <p:nvPr/>
                  </p:nvSpPr>
                  <p:spPr>
                    <a:xfrm>
                      <a:off x="1403648" y="1441246"/>
                      <a:ext cx="1814931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– User </a:t>
                      </a:r>
                    </a:p>
                    <a:p>
                      <a:pPr algn="ctr"/>
                      <a:r>
                        <a:rPr lang="de-DE" sz="1000" dirty="0" smtClean="0"/>
                        <a:t>Communication Handler</a:t>
                      </a:r>
                      <a:endParaRPr lang="de-DE" sz="1000" dirty="0"/>
                    </a:p>
                  </p:txBody>
                </p:sp>
              </p:grpSp>
              <p:cxnSp>
                <p:nvCxnSpPr>
                  <p:cNvPr id="25" name="Gewinkelter Verbinder 24"/>
                  <p:cNvCxnSpPr>
                    <a:stCxn id="72" idx="3"/>
                    <a:endCxn id="77" idx="1"/>
                  </p:cNvCxnSpPr>
                  <p:nvPr/>
                </p:nvCxnSpPr>
                <p:spPr>
                  <a:xfrm flipV="1">
                    <a:off x="4118439" y="1155850"/>
                    <a:ext cx="1821713" cy="2144099"/>
                  </a:xfrm>
                  <a:prstGeom prst="bentConnector3">
                    <a:avLst/>
                  </a:prstGeom>
                  <a:ln w="25400">
                    <a:solidFill>
                      <a:schemeClr val="accent5">
                        <a:lumMod val="50000"/>
                      </a:schemeClr>
                    </a:solidFill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6" name="Gruppieren 25"/>
                  <p:cNvGrpSpPr/>
                  <p:nvPr/>
                </p:nvGrpSpPr>
                <p:grpSpPr>
                  <a:xfrm>
                    <a:off x="5796136" y="2355973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46" name="Rechteck 45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8" name="Rechteck 47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9" name="Rechteck 48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0" name="Textfeld 49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2</a:t>
                      </a:r>
                      <a:endParaRPr lang="de-DE" sz="1400" b="1" dirty="0"/>
                    </a:p>
                  </p:txBody>
                </p:sp>
                <p:sp>
                  <p:nvSpPr>
                    <p:cNvPr id="51" name="Textfeld 50"/>
                    <p:cNvSpPr txBox="1"/>
                    <p:nvPr/>
                  </p:nvSpPr>
                  <p:spPr>
                    <a:xfrm rot="5400000">
                      <a:off x="5554138" y="922148"/>
                      <a:ext cx="1294025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Communication</a:t>
                      </a:r>
                    </a:p>
                    <a:p>
                      <a:pPr algn="ctr"/>
                      <a:r>
                        <a:rPr lang="de-DE" sz="1200" dirty="0" smtClean="0"/>
                        <a:t> 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52" name="Gruppieren 51"/>
                    <p:cNvGrpSpPr/>
                    <p:nvPr/>
                  </p:nvGrpSpPr>
                  <p:grpSpPr>
                    <a:xfrm>
                      <a:off x="6796196" y="683190"/>
                      <a:ext cx="1736244" cy="286972"/>
                      <a:chOff x="904450" y="1772340"/>
                      <a:chExt cx="1736244" cy="277000"/>
                    </a:xfrm>
                  </p:grpSpPr>
                  <p:sp>
                    <p:nvSpPr>
                      <p:cNvPr id="60" name="Rechteck 59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61" name="Textfeld 60"/>
                      <p:cNvSpPr txBox="1"/>
                      <p:nvPr/>
                    </p:nvSpPr>
                    <p:spPr>
                      <a:xfrm>
                        <a:off x="1103239" y="1772340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6" name="Rechteck 55"/>
                    <p:cNvSpPr/>
                    <p:nvPr/>
                  </p:nvSpPr>
                  <p:spPr>
                    <a:xfrm>
                      <a:off x="6811840" y="1625634"/>
                      <a:ext cx="1720599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55" name="Gerader Verbinder 54"/>
                    <p:cNvCxnSpPr>
                      <a:stCxn id="58" idx="2"/>
                      <a:endCxn id="56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7" name="Gruppieren 26"/>
                  <p:cNvGrpSpPr/>
                  <p:nvPr/>
                </p:nvGrpSpPr>
                <p:grpSpPr>
                  <a:xfrm>
                    <a:off x="5803696" y="4451299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30" name="Rechteck 29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1" name="Rechteck 30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2" name="Rechteck 31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3" name="Rechteck 32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4" name="Textfeld 33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3</a:t>
                      </a:r>
                      <a:endParaRPr lang="de-DE" sz="1400" b="1" dirty="0"/>
                    </a:p>
                  </p:txBody>
                </p:sp>
                <p:sp>
                  <p:nvSpPr>
                    <p:cNvPr id="35" name="Textfeld 34"/>
                    <p:cNvSpPr txBox="1"/>
                    <p:nvPr/>
                  </p:nvSpPr>
                  <p:spPr>
                    <a:xfrm rot="5400000">
                      <a:off x="5554138" y="922148"/>
                      <a:ext cx="1294025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Communication</a:t>
                      </a:r>
                    </a:p>
                    <a:p>
                      <a:pPr algn="ctr"/>
                      <a:r>
                        <a:rPr lang="de-DE" sz="1200" dirty="0" smtClean="0"/>
                        <a:t> 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36" name="Gruppieren 35"/>
                    <p:cNvGrpSpPr/>
                    <p:nvPr/>
                  </p:nvGrpSpPr>
                  <p:grpSpPr>
                    <a:xfrm>
                      <a:off x="6796196" y="682913"/>
                      <a:ext cx="1736244" cy="287251"/>
                      <a:chOff x="904450" y="1772071"/>
                      <a:chExt cx="1736244" cy="277269"/>
                    </a:xfrm>
                  </p:grpSpPr>
                  <p:sp>
                    <p:nvSpPr>
                      <p:cNvPr id="44" name="Rechteck 43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45" name="Textfeld 44"/>
                      <p:cNvSpPr txBox="1"/>
                      <p:nvPr/>
                    </p:nvSpPr>
                    <p:spPr>
                      <a:xfrm>
                        <a:off x="1105541" y="1772071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42" name="Rechteck 41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0" name="Rechteck 39"/>
                    <p:cNvSpPr/>
                    <p:nvPr/>
                  </p:nvSpPr>
                  <p:spPr>
                    <a:xfrm>
                      <a:off x="6811840" y="1625640"/>
                      <a:ext cx="1720599" cy="286972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39" name="Gerader Verbinder 38"/>
                    <p:cNvCxnSpPr>
                      <a:stCxn id="42" idx="2"/>
                      <a:endCxn id="40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28" name="Gewinkelter Verbinder 27"/>
                  <p:cNvCxnSpPr>
                    <a:stCxn id="72" idx="3"/>
                  </p:cNvCxnSpPr>
                  <p:nvPr/>
                </p:nvCxnSpPr>
                <p:spPr>
                  <a:xfrm flipV="1">
                    <a:off x="4118439" y="3298629"/>
                    <a:ext cx="1817873" cy="1320"/>
                  </a:xfrm>
                  <a:prstGeom prst="bentConnector3">
                    <a:avLst/>
                  </a:prstGeom>
                  <a:ln w="25400">
                    <a:solidFill>
                      <a:schemeClr val="accent5">
                        <a:lumMod val="50000"/>
                      </a:schemeClr>
                    </a:solidFill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winkelter Verbinder 28"/>
                  <p:cNvCxnSpPr>
                    <a:stCxn id="72" idx="3"/>
                  </p:cNvCxnSpPr>
                  <p:nvPr/>
                </p:nvCxnSpPr>
                <p:spPr>
                  <a:xfrm>
                    <a:off x="4118439" y="3299949"/>
                    <a:ext cx="1817873" cy="2145275"/>
                  </a:xfrm>
                  <a:prstGeom prst="bentConnector3">
                    <a:avLst>
                      <a:gd name="adj1" fmla="val 50000"/>
                    </a:avLst>
                  </a:prstGeom>
                  <a:ln w="25400">
                    <a:solidFill>
                      <a:schemeClr val="accent5">
                        <a:lumMod val="50000"/>
                      </a:schemeClr>
                    </a:solidFill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2" name="Gewinkelter Verbinder 11"/>
                <p:cNvCxnSpPr>
                  <a:stCxn id="64" idx="1"/>
                  <a:endCxn id="14" idx="3"/>
                </p:cNvCxnSpPr>
                <p:nvPr/>
              </p:nvCxnSpPr>
              <p:spPr>
                <a:xfrm rot="10800000">
                  <a:off x="1326670" y="2936381"/>
                  <a:ext cx="473798" cy="579"/>
                </a:xfrm>
                <a:prstGeom prst="bentConnector3">
                  <a:avLst>
                    <a:gd name="adj1" fmla="val 50000"/>
                  </a:avLst>
                </a:prstGeom>
                <a:ln w="25400"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" name="Gruppieren 12"/>
                <p:cNvGrpSpPr/>
                <p:nvPr/>
              </p:nvGrpSpPr>
              <p:grpSpPr>
                <a:xfrm>
                  <a:off x="116081" y="2343740"/>
                  <a:ext cx="1210589" cy="1185280"/>
                  <a:chOff x="116081" y="2350090"/>
                  <a:chExt cx="1210589" cy="1185280"/>
                </a:xfrm>
              </p:grpSpPr>
              <p:sp>
                <p:nvSpPr>
                  <p:cNvPr id="14" name="Rechteck 13"/>
                  <p:cNvSpPr/>
                  <p:nvPr/>
                </p:nvSpPr>
                <p:spPr>
                  <a:xfrm>
                    <a:off x="116081" y="2350090"/>
                    <a:ext cx="1210589" cy="1185280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5" name="Textfeld 14"/>
                  <p:cNvSpPr txBox="1"/>
                  <p:nvPr/>
                </p:nvSpPr>
                <p:spPr>
                  <a:xfrm>
                    <a:off x="116082" y="3206799"/>
                    <a:ext cx="1210588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Service User</a:t>
                    </a:r>
                    <a:endParaRPr lang="de-DE" sz="1400" dirty="0"/>
                  </a:p>
                </p:txBody>
              </p:sp>
            </p:grpSp>
          </p:grpSp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661DC29F-D068-D8D7-552F-D92CC66508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10831" y="3064184"/>
                <a:ext cx="1296144" cy="1296144"/>
              </a:xfrm>
              <a:prstGeom prst="rect">
                <a:avLst/>
              </a:prstGeom>
              <a:noFill/>
            </p:spPr>
          </p:pic>
        </p:grpSp>
        <p:sp>
          <p:nvSpPr>
            <p:cNvPr id="91" name="Textfeld 90"/>
            <p:cNvSpPr txBox="1"/>
            <p:nvPr/>
          </p:nvSpPr>
          <p:spPr>
            <a:xfrm>
              <a:off x="10035997" y="3806978"/>
              <a:ext cx="15953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Environment 1</a:t>
              </a:r>
              <a:endParaRPr lang="de-DE" sz="1000" dirty="0"/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10027117" y="4223273"/>
              <a:ext cx="1617751" cy="2462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Environment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0052447" y="5644304"/>
              <a:ext cx="15953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Environment 1</a:t>
              </a:r>
              <a:endParaRPr lang="de-DE" sz="1000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10043567" y="6060599"/>
              <a:ext cx="1617751" cy="2462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Environment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</p:grpSp>
      <p:sp>
        <p:nvSpPr>
          <p:cNvPr id="96" name="Textfeld 95"/>
          <p:cNvSpPr txBox="1"/>
          <p:nvPr/>
        </p:nvSpPr>
        <p:spPr>
          <a:xfrm>
            <a:off x="558508" y="1335067"/>
            <a:ext cx="485908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 Verwaltung durch </a:t>
            </a:r>
            <a:r>
              <a:rPr lang="de-DE" dirty="0" err="1" smtClean="0"/>
              <a:t>Runtime</a:t>
            </a:r>
            <a:r>
              <a:rPr lang="de-DE" dirty="0" smtClean="0"/>
              <a:t> Master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des laufen in </a:t>
            </a:r>
            <a:r>
              <a:rPr lang="de-DE" dirty="0" smtClean="0"/>
              <a:t>Fahrzeugsteuergerä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ommunikationsinterface modular </a:t>
            </a:r>
          </a:p>
          <a:p>
            <a:r>
              <a:rPr lang="de-DE" dirty="0"/>
              <a:t> </a:t>
            </a:r>
            <a:r>
              <a:rPr lang="de-DE" dirty="0" smtClean="0"/>
              <a:t>    austauschba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634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655548" y="1214914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/>
                <a:t>Auftraggeber</a:t>
              </a:r>
              <a:endParaRPr lang="de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172123"/>
              <a:chOff x="563224" y="1700808"/>
              <a:chExt cx="10861367" cy="3980446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Benutzeroberoberfläche für Auftraggeber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Auftraggeber kann Applikation zur Verfügung stell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</a:t>
                </a:r>
                <a:r>
                  <a:rPr lang="de-DE" sz="1000" dirty="0"/>
                  <a:t>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Verwaltungs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Verteilt Applikation vom Auftraggeber auf kompatible Steuergerä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Lädt Applikation auf Fahrzeugsteuergeräte</a:t>
                </a:r>
              </a:p>
              <a:p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Bietet Möglichkeit für parallele Berechnu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rmittelt Verfügbare Rechenleistung von Fahrzeugen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Überwacht gelieferte Rechenleistung von Fahrzeugen</a:t>
                </a:r>
                <a:endParaRPr lang="de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8" y="4792984"/>
                <a:ext cx="6584926" cy="88827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der Fahrzeugflotte</a:t>
                </a:r>
                <a:endParaRPr lang="de-DE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699417" y="248088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Verwaltungsapplikation </a:t>
                </a:r>
                <a:endParaRPr lang="de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err="1" smtClean="0"/>
                  <a:t>Loader</a:t>
                </a:r>
                <a:r>
                  <a:rPr lang="de-DE" sz="1000" b="1" dirty="0" smtClean="0"/>
                  <a:t>-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mpfängt externe Applikation als Binärcode und speichert es im Systemspeich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ann externe Applikation starten und stopp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ommuniziert mit externe Applikation über definierte Schnittstelle</a:t>
                </a:r>
                <a:endParaRPr lang="de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Externe Applikation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Führt Berechnungen für Auftraggeber auf der Hardware aus</a:t>
                </a:r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3319460"/>
            <a:ext cx="824088" cy="2359242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5400000" flipH="1" flipV="1">
            <a:off x="1471502" y="2610488"/>
            <a:ext cx="1077575" cy="598889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</a:t>
            </a:r>
            <a:r>
              <a:rPr lang="de-DE" sz="1600" dirty="0" smtClean="0"/>
              <a:t>Auftraggeber sei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de-DE" dirty="0" smtClean="0"/>
              <a:t>Informationen</a:t>
            </a:r>
            <a:r>
              <a:rPr lang="en-US" dirty="0" smtClean="0"/>
              <a:t> </a:t>
            </a:r>
            <a:r>
              <a:rPr lang="de-DE" dirty="0" smtClean="0"/>
              <a:t>zur</a:t>
            </a:r>
            <a:r>
              <a:rPr lang="en-US" dirty="0" smtClean="0"/>
              <a:t> </a:t>
            </a:r>
            <a:r>
              <a:rPr lang="en-US" dirty="0"/>
              <a:t>Person</a:t>
            </a:r>
          </a:p>
          <a:p>
            <a:r>
              <a:rPr lang="de-DE" dirty="0" smtClean="0"/>
              <a:t>Einleitung</a:t>
            </a:r>
          </a:p>
          <a:p>
            <a:r>
              <a:rPr lang="de-DE" dirty="0" smtClean="0"/>
              <a:t>Verteiltes </a:t>
            </a:r>
            <a:r>
              <a:rPr lang="de-DE" dirty="0"/>
              <a:t>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die Verteilung von Rechenaufgaben auf Fahrzeugflotte erarbeit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Verwaltung und </a:t>
            </a:r>
            <a:r>
              <a:rPr lang="de-DE" sz="1200" dirty="0" err="1" smtClean="0"/>
              <a:t>Loader</a:t>
            </a:r>
            <a:r>
              <a:rPr lang="de-DE" sz="1200" dirty="0" smtClean="0"/>
              <a:t> Applikation fertig stell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Implementierung der Softwarekomponenten</a:t>
            </a:r>
            <a:endParaRPr lang="de-DE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4604024" y="1983462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smtClean="0"/>
              <a:t>Softwareentw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2529" y="3588749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Bereit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ingangsdaten für Applikation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rgebnisse aus der Applikation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an das Fahrzeug übert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Kommunikation mit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Auftraggeber</a:t>
            </a:r>
            <a:endParaRPr lang="de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Verwaltung</a:t>
            </a:r>
            <a:endParaRPr lang="de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Fahrzeug</a:t>
            </a:r>
            <a:endParaRPr lang="de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Auftraggeber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Stellt Applikation der </a:t>
            </a:r>
            <a:r>
              <a:rPr lang="de-DE" sz="1600" dirty="0" err="1" smtClean="0"/>
              <a:t>Verwalungsapplikation</a:t>
            </a:r>
            <a:r>
              <a:rPr lang="de-DE" sz="1600" dirty="0" smtClean="0"/>
              <a:t> zur Verfügung</a:t>
            </a:r>
            <a:r>
              <a:rPr lang="en-GB" sz="1600" dirty="0" smtClean="0"/>
              <a:t>, </a:t>
            </a:r>
            <a:r>
              <a:rPr lang="en-GB" sz="1600" dirty="0"/>
              <a:t>die in </a:t>
            </a:r>
            <a:r>
              <a:rPr lang="de-DE" sz="1600" dirty="0" smtClean="0"/>
              <a:t>einem</a:t>
            </a:r>
            <a:r>
              <a:rPr lang="en-GB" sz="1600" dirty="0" smtClean="0"/>
              <a:t> Cloud</a:t>
            </a:r>
            <a:r>
              <a:rPr lang="de-DE" sz="1600" dirty="0" smtClean="0"/>
              <a:t> Dienst berechnet werden sol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rhält Kommunikationsschnittstelle</a:t>
            </a:r>
            <a:r>
              <a:rPr lang="en-GB" sz="1600" dirty="0" smtClean="0"/>
              <a:t> </a:t>
            </a:r>
            <a:r>
              <a:rPr lang="en-GB" sz="1600" dirty="0"/>
              <a:t>für die </a:t>
            </a:r>
            <a:r>
              <a:rPr lang="de-DE" sz="1600" dirty="0" smtClean="0"/>
              <a:t>bereitgestellte Applik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Versorgt Applikation mit Daten, erhält Ergebni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Verwaltung</a:t>
            </a:r>
            <a:r>
              <a:rPr lang="en-GB" sz="1600" b="1" dirty="0" smtClean="0"/>
              <a:t>:</a:t>
            </a:r>
            <a:endParaRPr lang="en-GB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Nimmt Applikation vom Auftraggeber und verteilt es an Fahrzeug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t für Auftraggeber und für Fahrzeu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Fahrzeug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die Möglichkeit Applikationen von extern zu laden und lokal auszuführ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e</a:t>
            </a:r>
            <a:r>
              <a:rPr lang="en-GB" sz="1600" dirty="0" smtClean="0"/>
              <a:t> </a:t>
            </a:r>
            <a:r>
              <a:rPr lang="en-GB" sz="1600" dirty="0" err="1" smtClean="0"/>
              <a:t>für</a:t>
            </a:r>
            <a:r>
              <a:rPr lang="en-GB" sz="1600" dirty="0" smtClean="0"/>
              <a:t> die von extern </a:t>
            </a:r>
            <a:r>
              <a:rPr lang="de-DE" sz="1600" dirty="0" smtClean="0"/>
              <a:t>geladene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 smtClean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28583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Fog </a:t>
              </a:r>
              <a:r>
                <a:rPr lang="de-DE" dirty="0"/>
                <a:t>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Fog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</a:t>
            </a:r>
            <a:r>
              <a:rPr lang="de-DE" dirty="0" smtClean="0"/>
              <a:t>vergleich zur Edge Ansatz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Edge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Edge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81</Words>
  <Application>Microsoft Office PowerPoint</Application>
  <PresentationFormat>Breitbild</PresentationFormat>
  <Paragraphs>276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 Gesamtarchitektur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26</cp:revision>
  <dcterms:created xsi:type="dcterms:W3CDTF">2022-11-29T15:56:53Z</dcterms:created>
  <dcterms:modified xsi:type="dcterms:W3CDTF">2024-01-24T14:25:14Z</dcterms:modified>
</cp:coreProperties>
</file>